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344" r:id="rId2"/>
    <p:sldId id="405" r:id="rId3"/>
    <p:sldId id="406" r:id="rId4"/>
    <p:sldId id="407" r:id="rId5"/>
    <p:sldId id="408" r:id="rId6"/>
    <p:sldId id="409" r:id="rId7"/>
    <p:sldId id="410" r:id="rId8"/>
    <p:sldId id="411" r:id="rId9"/>
    <p:sldId id="412" r:id="rId10"/>
    <p:sldId id="426" r:id="rId11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="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588" autoAdjust="0"/>
    <p:restoredTop sz="98224" autoAdjust="0"/>
  </p:normalViewPr>
  <p:slideViewPr>
    <p:cSldViewPr>
      <p:cViewPr>
        <p:scale>
          <a:sx n="50" d="100"/>
          <a:sy n="50" d="100"/>
        </p:scale>
        <p:origin x="36" y="-1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4858E3-B373-4E45-8223-D2BF4BF5A717}" type="doc">
      <dgm:prSet loTypeId="urn:microsoft.com/office/officeart/2005/8/layout/matrix1" loCatId="matrix" qsTypeId="urn:microsoft.com/office/officeart/2005/8/quickstyle/simple2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005BE1D6-BCDE-4766-9B03-5950A6F4E007}">
      <dgm:prSet phldrT="[Text]" custT="1"/>
      <dgm:spPr/>
      <dgm:t>
        <a:bodyPr/>
        <a:lstStyle/>
        <a:p>
          <a:r>
            <a:rPr lang="en-US" sz="1800" dirty="0" smtClean="0"/>
            <a:t>Use case/ Scenarios</a:t>
          </a:r>
          <a:endParaRPr lang="en-US" sz="1800" dirty="0"/>
        </a:p>
      </dgm:t>
    </dgm:pt>
    <dgm:pt modelId="{7BFD048F-43C7-40DF-9604-6BC4D3A3B76C}" type="parTrans" cxnId="{0026E6D2-1619-45CD-A5B6-14B395AF9215}">
      <dgm:prSet/>
      <dgm:spPr/>
      <dgm:t>
        <a:bodyPr/>
        <a:lstStyle/>
        <a:p>
          <a:endParaRPr lang="en-US" sz="6600"/>
        </a:p>
      </dgm:t>
    </dgm:pt>
    <dgm:pt modelId="{06816E54-9D12-4426-A8FB-C7F988A255CF}" type="sibTrans" cxnId="{0026E6D2-1619-45CD-A5B6-14B395AF9215}">
      <dgm:prSet/>
      <dgm:spPr/>
      <dgm:t>
        <a:bodyPr/>
        <a:lstStyle/>
        <a:p>
          <a:endParaRPr lang="en-US" sz="6600"/>
        </a:p>
      </dgm:t>
    </dgm:pt>
    <dgm:pt modelId="{26554B60-699D-439F-ADD6-8E6D86E9CCF3}">
      <dgm:prSet phldrT="[Text]" custT="1"/>
      <dgm:spPr/>
      <dgm:t>
        <a:bodyPr lIns="0" rIns="0"/>
        <a:lstStyle/>
        <a:p>
          <a:r>
            <a:rPr lang="en-US" sz="1800" dirty="0" smtClean="0"/>
            <a:t>Logical View</a:t>
          </a:r>
          <a:endParaRPr lang="en-US" sz="1800" dirty="0"/>
        </a:p>
      </dgm:t>
    </dgm:pt>
    <dgm:pt modelId="{142228B1-C6BB-4F8A-8FD4-EEB88F96E98B}" type="parTrans" cxnId="{E3CBE667-B7F2-4647-8676-23415B6257FE}">
      <dgm:prSet/>
      <dgm:spPr/>
      <dgm:t>
        <a:bodyPr/>
        <a:lstStyle/>
        <a:p>
          <a:endParaRPr lang="en-US" sz="6600"/>
        </a:p>
      </dgm:t>
    </dgm:pt>
    <dgm:pt modelId="{F87959C7-18B0-4E33-8F6B-D62F6CF67390}" type="sibTrans" cxnId="{E3CBE667-B7F2-4647-8676-23415B6257FE}">
      <dgm:prSet/>
      <dgm:spPr/>
      <dgm:t>
        <a:bodyPr/>
        <a:lstStyle/>
        <a:p>
          <a:endParaRPr lang="en-US" sz="6600"/>
        </a:p>
      </dgm:t>
    </dgm:pt>
    <dgm:pt modelId="{C70DDFA5-0904-4833-A043-7204AC364656}">
      <dgm:prSet phldrT="[Text]" custT="1"/>
      <dgm:spPr/>
      <dgm:t>
        <a:bodyPr lIns="0" rIns="0"/>
        <a:lstStyle/>
        <a:p>
          <a:r>
            <a:rPr lang="en-US" sz="1800" dirty="0" smtClean="0"/>
            <a:t>Physical View</a:t>
          </a:r>
          <a:endParaRPr lang="en-US" sz="1800" dirty="0"/>
        </a:p>
      </dgm:t>
    </dgm:pt>
    <dgm:pt modelId="{F806F9D8-079B-49B9-8EE5-F94AB63606FF}" type="parTrans" cxnId="{4AB31594-027E-4181-BD59-A1C8CFDB0D0A}">
      <dgm:prSet/>
      <dgm:spPr/>
      <dgm:t>
        <a:bodyPr/>
        <a:lstStyle/>
        <a:p>
          <a:endParaRPr lang="en-US" sz="6600"/>
        </a:p>
      </dgm:t>
    </dgm:pt>
    <dgm:pt modelId="{81457D53-14EE-42C1-80AB-7142702393C1}" type="sibTrans" cxnId="{4AB31594-027E-4181-BD59-A1C8CFDB0D0A}">
      <dgm:prSet/>
      <dgm:spPr/>
      <dgm:t>
        <a:bodyPr/>
        <a:lstStyle/>
        <a:p>
          <a:endParaRPr lang="en-US" sz="6600"/>
        </a:p>
      </dgm:t>
    </dgm:pt>
    <dgm:pt modelId="{C8734995-C390-4CD4-B30E-2DF47F6FBD52}">
      <dgm:prSet phldrT="[Text]" custT="1"/>
      <dgm:spPr/>
      <dgm:t>
        <a:bodyPr lIns="0" rIns="0"/>
        <a:lstStyle/>
        <a:p>
          <a:r>
            <a:rPr lang="en-US" sz="1800" dirty="0" smtClean="0"/>
            <a:t>Process View</a:t>
          </a:r>
          <a:endParaRPr lang="en-US" sz="1800" dirty="0"/>
        </a:p>
      </dgm:t>
    </dgm:pt>
    <dgm:pt modelId="{150BDE38-7283-4F7D-9D5D-A740407BB0FE}" type="parTrans" cxnId="{276CF6BA-04E4-46BE-B180-357A046F10DE}">
      <dgm:prSet/>
      <dgm:spPr/>
      <dgm:t>
        <a:bodyPr/>
        <a:lstStyle/>
        <a:p>
          <a:endParaRPr lang="en-US" sz="6600"/>
        </a:p>
      </dgm:t>
    </dgm:pt>
    <dgm:pt modelId="{269FE9A5-8E96-474F-BE60-3BD05EF987C5}" type="sibTrans" cxnId="{276CF6BA-04E4-46BE-B180-357A046F10DE}">
      <dgm:prSet/>
      <dgm:spPr/>
      <dgm:t>
        <a:bodyPr/>
        <a:lstStyle/>
        <a:p>
          <a:endParaRPr lang="en-US" sz="6600"/>
        </a:p>
      </dgm:t>
    </dgm:pt>
    <dgm:pt modelId="{B0127ACE-3529-4597-A6BD-D4AD04F75AE6}">
      <dgm:prSet phldrT="[Text]" custT="1"/>
      <dgm:spPr/>
      <dgm:t>
        <a:bodyPr lIns="0" rIns="0"/>
        <a:lstStyle/>
        <a:p>
          <a:r>
            <a:rPr lang="en-US" sz="1800" dirty="0" smtClean="0"/>
            <a:t>Development View</a:t>
          </a:r>
          <a:endParaRPr lang="en-US" sz="1800" dirty="0"/>
        </a:p>
      </dgm:t>
    </dgm:pt>
    <dgm:pt modelId="{E5B1AC30-A5CE-4D7E-BB63-D8B233A0750D}" type="parTrans" cxnId="{B45D99CA-DC18-43BB-BE2A-9C49E885D84F}">
      <dgm:prSet/>
      <dgm:spPr/>
      <dgm:t>
        <a:bodyPr/>
        <a:lstStyle/>
        <a:p>
          <a:endParaRPr lang="en-US" sz="6600"/>
        </a:p>
      </dgm:t>
    </dgm:pt>
    <dgm:pt modelId="{1169722C-C32B-4A0C-BE95-AE3976F8D266}" type="sibTrans" cxnId="{B45D99CA-DC18-43BB-BE2A-9C49E885D84F}">
      <dgm:prSet/>
      <dgm:spPr/>
      <dgm:t>
        <a:bodyPr/>
        <a:lstStyle/>
        <a:p>
          <a:endParaRPr lang="en-US" sz="6600"/>
        </a:p>
      </dgm:t>
    </dgm:pt>
    <dgm:pt modelId="{F71EB49F-7745-4206-8817-4E07E26057D4}" type="pres">
      <dgm:prSet presAssocID="{194858E3-B373-4E45-8223-D2BF4BF5A717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01E5D2E-1EAB-4D78-84F2-E1754EB1B514}" type="pres">
      <dgm:prSet presAssocID="{194858E3-B373-4E45-8223-D2BF4BF5A717}" presName="matrix" presStyleCnt="0"/>
      <dgm:spPr/>
    </dgm:pt>
    <dgm:pt modelId="{FD616836-A2CA-4CAA-84F4-88F312BB30A4}" type="pres">
      <dgm:prSet presAssocID="{194858E3-B373-4E45-8223-D2BF4BF5A717}" presName="tile1" presStyleLbl="node1" presStyleIdx="0" presStyleCnt="4"/>
      <dgm:spPr/>
      <dgm:t>
        <a:bodyPr/>
        <a:lstStyle/>
        <a:p>
          <a:endParaRPr lang="en-US"/>
        </a:p>
      </dgm:t>
    </dgm:pt>
    <dgm:pt modelId="{FBD30CD7-10F3-4B9B-B88B-9CC69CB1C0A0}" type="pres">
      <dgm:prSet presAssocID="{194858E3-B373-4E45-8223-D2BF4BF5A717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88C17CC-7523-4904-8787-10F0942EBD1D}" type="pres">
      <dgm:prSet presAssocID="{194858E3-B373-4E45-8223-D2BF4BF5A717}" presName="tile2" presStyleLbl="node1" presStyleIdx="1" presStyleCnt="4"/>
      <dgm:spPr/>
      <dgm:t>
        <a:bodyPr/>
        <a:lstStyle/>
        <a:p>
          <a:endParaRPr lang="en-US"/>
        </a:p>
      </dgm:t>
    </dgm:pt>
    <dgm:pt modelId="{F9E14B2D-D54E-435C-B603-7D31A4C2FB31}" type="pres">
      <dgm:prSet presAssocID="{194858E3-B373-4E45-8223-D2BF4BF5A717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6B263A-C131-489B-99A3-F8B98550850C}" type="pres">
      <dgm:prSet presAssocID="{194858E3-B373-4E45-8223-D2BF4BF5A717}" presName="tile3" presStyleLbl="node1" presStyleIdx="2" presStyleCnt="4"/>
      <dgm:spPr/>
      <dgm:t>
        <a:bodyPr/>
        <a:lstStyle/>
        <a:p>
          <a:endParaRPr lang="en-US"/>
        </a:p>
      </dgm:t>
    </dgm:pt>
    <dgm:pt modelId="{45C94DDD-139B-478B-80C6-367BD229267F}" type="pres">
      <dgm:prSet presAssocID="{194858E3-B373-4E45-8223-D2BF4BF5A717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2631B5-A3E5-46F9-8E48-79110E793767}" type="pres">
      <dgm:prSet presAssocID="{194858E3-B373-4E45-8223-D2BF4BF5A717}" presName="tile4" presStyleLbl="node1" presStyleIdx="3" presStyleCnt="4"/>
      <dgm:spPr/>
      <dgm:t>
        <a:bodyPr/>
        <a:lstStyle/>
        <a:p>
          <a:endParaRPr lang="en-US"/>
        </a:p>
      </dgm:t>
    </dgm:pt>
    <dgm:pt modelId="{53DFA8BA-1BC1-4FE3-AE1D-5532875CF96E}" type="pres">
      <dgm:prSet presAssocID="{194858E3-B373-4E45-8223-D2BF4BF5A717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6C91DE-4E46-4E47-B885-27230580F813}" type="pres">
      <dgm:prSet presAssocID="{194858E3-B373-4E45-8223-D2BF4BF5A717}" presName="centerTile" presStyleLbl="fgShp" presStyleIdx="0" presStyleCnt="1" custScaleX="230769" custScaleY="133332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</dgm:ptLst>
  <dgm:cxnLst>
    <dgm:cxn modelId="{0026E6D2-1619-45CD-A5B6-14B395AF9215}" srcId="{194858E3-B373-4E45-8223-D2BF4BF5A717}" destId="{005BE1D6-BCDE-4766-9B03-5950A6F4E007}" srcOrd="0" destOrd="0" parTransId="{7BFD048F-43C7-40DF-9604-6BC4D3A3B76C}" sibTransId="{06816E54-9D12-4426-A8FB-C7F988A255CF}"/>
    <dgm:cxn modelId="{A4AAB9CC-6E90-47E1-AF8B-BCFBC8517809}" type="presOf" srcId="{B0127ACE-3529-4597-A6BD-D4AD04F75AE6}" destId="{53DFA8BA-1BC1-4FE3-AE1D-5532875CF96E}" srcOrd="1" destOrd="0" presId="urn:microsoft.com/office/officeart/2005/8/layout/matrix1"/>
    <dgm:cxn modelId="{3A0DDFCB-3F6C-4AA1-B5AE-874A59EBA9F6}" type="presOf" srcId="{005BE1D6-BCDE-4766-9B03-5950A6F4E007}" destId="{DC6C91DE-4E46-4E47-B885-27230580F813}" srcOrd="0" destOrd="0" presId="urn:microsoft.com/office/officeart/2005/8/layout/matrix1"/>
    <dgm:cxn modelId="{4AB31594-027E-4181-BD59-A1C8CFDB0D0A}" srcId="{005BE1D6-BCDE-4766-9B03-5950A6F4E007}" destId="{C70DDFA5-0904-4833-A043-7204AC364656}" srcOrd="1" destOrd="0" parTransId="{F806F9D8-079B-49B9-8EE5-F94AB63606FF}" sibTransId="{81457D53-14EE-42C1-80AB-7142702393C1}"/>
    <dgm:cxn modelId="{74E4B3D8-11B7-4EA3-A9F2-788B72426F7D}" type="presOf" srcId="{26554B60-699D-439F-ADD6-8E6D86E9CCF3}" destId="{FBD30CD7-10F3-4B9B-B88B-9CC69CB1C0A0}" srcOrd="1" destOrd="0" presId="urn:microsoft.com/office/officeart/2005/8/layout/matrix1"/>
    <dgm:cxn modelId="{8361E71F-1FD4-4F9E-8B56-61AC34DE1CA4}" type="presOf" srcId="{C8734995-C390-4CD4-B30E-2DF47F6FBD52}" destId="{EF6B263A-C131-489B-99A3-F8B98550850C}" srcOrd="0" destOrd="0" presId="urn:microsoft.com/office/officeart/2005/8/layout/matrix1"/>
    <dgm:cxn modelId="{276CF6BA-04E4-46BE-B180-357A046F10DE}" srcId="{005BE1D6-BCDE-4766-9B03-5950A6F4E007}" destId="{C8734995-C390-4CD4-B30E-2DF47F6FBD52}" srcOrd="2" destOrd="0" parTransId="{150BDE38-7283-4F7D-9D5D-A740407BB0FE}" sibTransId="{269FE9A5-8E96-474F-BE60-3BD05EF987C5}"/>
    <dgm:cxn modelId="{A2511201-6533-40FD-88F4-4ECC725BF44A}" type="presOf" srcId="{C8734995-C390-4CD4-B30E-2DF47F6FBD52}" destId="{45C94DDD-139B-478B-80C6-367BD229267F}" srcOrd="1" destOrd="0" presId="urn:microsoft.com/office/officeart/2005/8/layout/matrix1"/>
    <dgm:cxn modelId="{DC8716D8-8726-4B2F-920E-B936BBD4F95E}" type="presOf" srcId="{C70DDFA5-0904-4833-A043-7204AC364656}" destId="{F9E14B2D-D54E-435C-B603-7D31A4C2FB31}" srcOrd="1" destOrd="0" presId="urn:microsoft.com/office/officeart/2005/8/layout/matrix1"/>
    <dgm:cxn modelId="{5CACC8E5-B70E-4B32-95D6-BC2853E2DFF1}" type="presOf" srcId="{26554B60-699D-439F-ADD6-8E6D86E9CCF3}" destId="{FD616836-A2CA-4CAA-84F4-88F312BB30A4}" srcOrd="0" destOrd="0" presId="urn:microsoft.com/office/officeart/2005/8/layout/matrix1"/>
    <dgm:cxn modelId="{E3CBE667-B7F2-4647-8676-23415B6257FE}" srcId="{005BE1D6-BCDE-4766-9B03-5950A6F4E007}" destId="{26554B60-699D-439F-ADD6-8E6D86E9CCF3}" srcOrd="0" destOrd="0" parTransId="{142228B1-C6BB-4F8A-8FD4-EEB88F96E98B}" sibTransId="{F87959C7-18B0-4E33-8F6B-D62F6CF67390}"/>
    <dgm:cxn modelId="{B45D99CA-DC18-43BB-BE2A-9C49E885D84F}" srcId="{005BE1D6-BCDE-4766-9B03-5950A6F4E007}" destId="{B0127ACE-3529-4597-A6BD-D4AD04F75AE6}" srcOrd="3" destOrd="0" parTransId="{E5B1AC30-A5CE-4D7E-BB63-D8B233A0750D}" sibTransId="{1169722C-C32B-4A0C-BE95-AE3976F8D266}"/>
    <dgm:cxn modelId="{103C5D20-6055-4E1E-B8CD-71D9B6F523DF}" type="presOf" srcId="{B0127ACE-3529-4597-A6BD-D4AD04F75AE6}" destId="{3B2631B5-A3E5-46F9-8E48-79110E793767}" srcOrd="0" destOrd="0" presId="urn:microsoft.com/office/officeart/2005/8/layout/matrix1"/>
    <dgm:cxn modelId="{DB198736-6AE8-4F22-BC18-61CF2BDC15A5}" type="presOf" srcId="{194858E3-B373-4E45-8223-D2BF4BF5A717}" destId="{F71EB49F-7745-4206-8817-4E07E26057D4}" srcOrd="0" destOrd="0" presId="urn:microsoft.com/office/officeart/2005/8/layout/matrix1"/>
    <dgm:cxn modelId="{968C10E3-FDEF-4FE3-AEB3-7355B7B33DA1}" type="presOf" srcId="{C70DDFA5-0904-4833-A043-7204AC364656}" destId="{688C17CC-7523-4904-8787-10F0942EBD1D}" srcOrd="0" destOrd="0" presId="urn:microsoft.com/office/officeart/2005/8/layout/matrix1"/>
    <dgm:cxn modelId="{30AE92C7-273F-4D62-92AF-5A07D1B0FEAF}" type="presParOf" srcId="{F71EB49F-7745-4206-8817-4E07E26057D4}" destId="{901E5D2E-1EAB-4D78-84F2-E1754EB1B514}" srcOrd="0" destOrd="0" presId="urn:microsoft.com/office/officeart/2005/8/layout/matrix1"/>
    <dgm:cxn modelId="{AC964707-74E4-41A5-AEF5-4659044A4E82}" type="presParOf" srcId="{901E5D2E-1EAB-4D78-84F2-E1754EB1B514}" destId="{FD616836-A2CA-4CAA-84F4-88F312BB30A4}" srcOrd="0" destOrd="0" presId="urn:microsoft.com/office/officeart/2005/8/layout/matrix1"/>
    <dgm:cxn modelId="{3FC1122B-D7A0-4B7E-8653-B7F856E19792}" type="presParOf" srcId="{901E5D2E-1EAB-4D78-84F2-E1754EB1B514}" destId="{FBD30CD7-10F3-4B9B-B88B-9CC69CB1C0A0}" srcOrd="1" destOrd="0" presId="urn:microsoft.com/office/officeart/2005/8/layout/matrix1"/>
    <dgm:cxn modelId="{DB1046F8-FAF1-4AB2-844A-812E3F5D575F}" type="presParOf" srcId="{901E5D2E-1EAB-4D78-84F2-E1754EB1B514}" destId="{688C17CC-7523-4904-8787-10F0942EBD1D}" srcOrd="2" destOrd="0" presId="urn:microsoft.com/office/officeart/2005/8/layout/matrix1"/>
    <dgm:cxn modelId="{8AE8871A-069B-44F2-B13A-6CB038656D6E}" type="presParOf" srcId="{901E5D2E-1EAB-4D78-84F2-E1754EB1B514}" destId="{F9E14B2D-D54E-435C-B603-7D31A4C2FB31}" srcOrd="3" destOrd="0" presId="urn:microsoft.com/office/officeart/2005/8/layout/matrix1"/>
    <dgm:cxn modelId="{428D17FA-10B2-45BD-834C-DA3FA364BBE5}" type="presParOf" srcId="{901E5D2E-1EAB-4D78-84F2-E1754EB1B514}" destId="{EF6B263A-C131-489B-99A3-F8B98550850C}" srcOrd="4" destOrd="0" presId="urn:microsoft.com/office/officeart/2005/8/layout/matrix1"/>
    <dgm:cxn modelId="{A07A878F-FDDA-42CF-B508-800DF238E785}" type="presParOf" srcId="{901E5D2E-1EAB-4D78-84F2-E1754EB1B514}" destId="{45C94DDD-139B-478B-80C6-367BD229267F}" srcOrd="5" destOrd="0" presId="urn:microsoft.com/office/officeart/2005/8/layout/matrix1"/>
    <dgm:cxn modelId="{6B3C7017-72C1-4635-96DD-C56C83F2BB87}" type="presParOf" srcId="{901E5D2E-1EAB-4D78-84F2-E1754EB1B514}" destId="{3B2631B5-A3E5-46F9-8E48-79110E793767}" srcOrd="6" destOrd="0" presId="urn:microsoft.com/office/officeart/2005/8/layout/matrix1"/>
    <dgm:cxn modelId="{C6B04155-4FD4-4DF1-A14D-406815B75A92}" type="presParOf" srcId="{901E5D2E-1EAB-4D78-84F2-E1754EB1B514}" destId="{53DFA8BA-1BC1-4FE3-AE1D-5532875CF96E}" srcOrd="7" destOrd="0" presId="urn:microsoft.com/office/officeart/2005/8/layout/matrix1"/>
    <dgm:cxn modelId="{D904FA77-D480-47BB-8460-AA63C984B2EE}" type="presParOf" srcId="{F71EB49F-7745-4206-8817-4E07E26057D4}" destId="{DC6C91DE-4E46-4E47-B885-27230580F813}" srcOrd="1" destOrd="0" presId="urn:microsoft.com/office/officeart/2005/8/layout/matrix1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D616836-A2CA-4CAA-84F4-88F312BB30A4}">
      <dsp:nvSpPr>
        <dsp:cNvPr id="0" name=""/>
        <dsp:cNvSpPr/>
      </dsp:nvSpPr>
      <dsp:spPr>
        <a:xfrm rot="16200000">
          <a:off x="342899" y="-342899"/>
          <a:ext cx="800100" cy="1485900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128016" rIns="0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Logical View</a:t>
          </a:r>
          <a:endParaRPr lang="en-US" sz="1800" kern="1200" dirty="0"/>
        </a:p>
      </dsp:txBody>
      <dsp:txXfrm rot="16200000">
        <a:off x="442912" y="-442912"/>
        <a:ext cx="600075" cy="1485900"/>
      </dsp:txXfrm>
    </dsp:sp>
    <dsp:sp modelId="{688C17CC-7523-4904-8787-10F0942EBD1D}">
      <dsp:nvSpPr>
        <dsp:cNvPr id="0" name=""/>
        <dsp:cNvSpPr/>
      </dsp:nvSpPr>
      <dsp:spPr>
        <a:xfrm>
          <a:off x="1485900" y="0"/>
          <a:ext cx="1485900" cy="800100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128016" rIns="0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hysical View</a:t>
          </a:r>
          <a:endParaRPr lang="en-US" sz="1800" kern="1200" dirty="0"/>
        </a:p>
      </dsp:txBody>
      <dsp:txXfrm>
        <a:off x="1485900" y="0"/>
        <a:ext cx="1485900" cy="600075"/>
      </dsp:txXfrm>
    </dsp:sp>
    <dsp:sp modelId="{EF6B263A-C131-489B-99A3-F8B98550850C}">
      <dsp:nvSpPr>
        <dsp:cNvPr id="0" name=""/>
        <dsp:cNvSpPr/>
      </dsp:nvSpPr>
      <dsp:spPr>
        <a:xfrm rot="10800000">
          <a:off x="0" y="800100"/>
          <a:ext cx="1485900" cy="800100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128016" rIns="0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rocess View</a:t>
          </a:r>
          <a:endParaRPr lang="en-US" sz="1800" kern="1200" dirty="0"/>
        </a:p>
      </dsp:txBody>
      <dsp:txXfrm rot="10800000">
        <a:off x="0" y="1000125"/>
        <a:ext cx="1485900" cy="600075"/>
      </dsp:txXfrm>
    </dsp:sp>
    <dsp:sp modelId="{3B2631B5-A3E5-46F9-8E48-79110E793767}">
      <dsp:nvSpPr>
        <dsp:cNvPr id="0" name=""/>
        <dsp:cNvSpPr/>
      </dsp:nvSpPr>
      <dsp:spPr>
        <a:xfrm rot="5400000">
          <a:off x="1828800" y="457200"/>
          <a:ext cx="800100" cy="1485900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128016" rIns="0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Development View</a:t>
          </a:r>
          <a:endParaRPr lang="en-US" sz="1800" kern="1200" dirty="0"/>
        </a:p>
      </dsp:txBody>
      <dsp:txXfrm rot="5400000">
        <a:off x="1928812" y="557212"/>
        <a:ext cx="600075" cy="1485900"/>
      </dsp:txXfrm>
    </dsp:sp>
    <dsp:sp modelId="{DC6C91DE-4E46-4E47-B885-27230580F813}">
      <dsp:nvSpPr>
        <dsp:cNvPr id="0" name=""/>
        <dsp:cNvSpPr/>
      </dsp:nvSpPr>
      <dsp:spPr>
        <a:xfrm>
          <a:off x="457201" y="533402"/>
          <a:ext cx="2057397" cy="533394"/>
        </a:xfrm>
        <a:prstGeom prst="roundRect">
          <a:avLst/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Use case/ Scenarios</a:t>
          </a:r>
          <a:endParaRPr lang="en-US" sz="1800" kern="1200" dirty="0"/>
        </a:p>
      </dsp:txBody>
      <dsp:txXfrm>
        <a:off x="457201" y="533402"/>
        <a:ext cx="2057397" cy="5333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10" Type="http://schemas.openxmlformats.org/officeDocument/2006/relationships/image" Target="../media/image5.png"/><Relationship Id="rId4" Type="http://schemas.openxmlformats.org/officeDocument/2006/relationships/tags" Target="../tags/tag3.xml"/><Relationship Id="rId9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9700E9-684F-44AD-945C-08A77F84859B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95F637-B0BA-4AFD-B5D9-9390854422C4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6747E0-DA95-4A23-938F-041911CB670F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681" name="think-cell Slide" r:id="rId7" imgW="360" imgH="36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dirty="0" smtClean="0"/>
              <a:t>SS ZG653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41A165-0098-4580-939A-BAE6E4C86146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FD99AB-8937-4371-9690-32A9E3EA68AF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2F8B93-89E6-494B-B4AC-82C3ED12D96C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5B924-9DEE-4B74-9B9D-CC10EC62D2CF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F717B-CB25-4732-AF3A-6D1063B41139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12644-3606-49A9-B2B7-132D7720C204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E28887-4D78-4B74-ADFE-BC5FB07E79E9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4D0C184-59E1-47F7-8D20-48CD8F87AFD0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2.1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Software Structure and Views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Jan 11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ich Structure to Choose?</a:t>
            </a:r>
            <a:endParaRPr lang="en-US" dirty="0"/>
          </a:p>
        </p:txBody>
      </p:sp>
      <p:graphicFrame>
        <p:nvGraphicFramePr>
          <p:cNvPr id="14" name="Content Placeholder 1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mc="http://schemas.openxmlformats.org/markup-compatibility/2006" xmlns:mv="urn:schemas-microsoft-com:mac:vml" xmlns:p14="http://schemas.microsoft.com/office/powerpoint/2010/main" xmlns="" val="312935214"/>
              </p:ext>
            </p:extLst>
          </p:nvPr>
        </p:nvGraphicFramePr>
        <p:xfrm>
          <a:off x="3124200" y="3810000"/>
          <a:ext cx="2971800" cy="1600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242454" y="2895600"/>
            <a:ext cx="3638797" cy="76200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dirty="0" smtClean="0"/>
              <a:t>End-us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</a:t>
            </a:r>
            <a:r>
              <a:rPr lang="en-US" dirty="0" smtClean="0"/>
              <a:t>oncerned with function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ssentially module structur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28601" y="5404262"/>
            <a:ext cx="3867396" cy="106680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mtClean="0"/>
              <a:t>Architect/Integrator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</a:t>
            </a:r>
            <a:r>
              <a:rPr lang="en-US" dirty="0" smtClean="0"/>
              <a:t>oncerned with performance, scalability.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ssentially </a:t>
            </a:r>
            <a:r>
              <a:rPr lang="en-US" dirty="0" smtClean="0"/>
              <a:t>component-connector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724400" y="2514600"/>
            <a:ext cx="4267200" cy="137160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dirty="0" smtClean="0"/>
              <a:t>Infrastructure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</a:t>
            </a:r>
            <a:r>
              <a:rPr lang="en-US" dirty="0" smtClean="0"/>
              <a:t>oncerned with topology, communication, sec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ssentially allocation (deployment). Other people also call it as deployment view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851070" y="5410200"/>
            <a:ext cx="4140530" cy="106680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dirty="0" smtClean="0"/>
              <a:t>Development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</a:t>
            </a:r>
            <a:r>
              <a:rPr lang="en-US" dirty="0" smtClean="0"/>
              <a:t>oncerned with softwar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ssentially allocation (implementation and work-assignment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20" name="Line Callout 2 19"/>
          <p:cNvSpPr/>
          <p:nvPr/>
        </p:nvSpPr>
        <p:spPr>
          <a:xfrm>
            <a:off x="228601" y="3957429"/>
            <a:ext cx="2438400" cy="1224171"/>
          </a:xfrm>
          <a:prstGeom prst="borderCallout2">
            <a:avLst>
              <a:gd name="adj1" fmla="val 38151"/>
              <a:gd name="adj2" fmla="val 101481"/>
              <a:gd name="adj3" fmla="val 61433"/>
              <a:gd name="adj4" fmla="val 110654"/>
              <a:gd name="adj5" fmla="val 61086"/>
              <a:gd name="adj6" fmla="val 14113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600" i="1" dirty="0"/>
              <a:t>Use-case- </a:t>
            </a:r>
            <a:r>
              <a:rPr lang="en-US" sz="1600" dirty="0"/>
              <a:t>Binds all the four views together and describes the behavior of the system in a semi-structured text</a:t>
            </a:r>
            <a:endParaRPr lang="en-US" sz="1600" i="1" dirty="0"/>
          </a:p>
        </p:txBody>
      </p:sp>
      <p:sp>
        <p:nvSpPr>
          <p:cNvPr id="21" name="Content Placeholder 2"/>
          <p:cNvSpPr txBox="1">
            <a:spLocks/>
          </p:cNvSpPr>
          <p:nvPr/>
        </p:nvSpPr>
        <p:spPr bwMode="auto">
          <a:xfrm>
            <a:off x="304800" y="1219200"/>
            <a:ext cx="8382000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 smtClean="0"/>
              <a:t>Many opinions exist</a:t>
            </a:r>
          </a:p>
          <a:p>
            <a:r>
              <a:rPr lang="en-US" sz="2400" dirty="0" smtClean="0"/>
              <a:t>We will consider 4+1 view. This has been institutionalized as Rational Unified Process of Architecture description</a:t>
            </a:r>
          </a:p>
          <a:p>
            <a:pPr marL="514350" indent="-514350">
              <a:buFont typeface="Arial" charset="0"/>
              <a:buAutoNum type="arabicPeriod"/>
            </a:pPr>
            <a:endParaRPr lang="en-US" sz="2400" i="1" dirty="0" smtClean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065566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1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0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0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0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000"/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0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allAtOnce" animBg="1"/>
      <p:bldP spid="16" grpId="0" build="allAtOnce" animBg="1"/>
      <p:bldP spid="17" grpId="0" build="allAtOnce" animBg="1"/>
      <p:bldP spid="18" grpId="0" build="allAtOnce" animBg="1"/>
      <p:bldP spid="20" grpId="0" build="allAtOnce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Views and Architectural Structure- Recap..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3505200"/>
          </a:xfrm>
        </p:spPr>
        <p:txBody>
          <a:bodyPr/>
          <a:lstStyle/>
          <a:p>
            <a:r>
              <a:rPr lang="en-US" sz="1800" dirty="0" smtClean="0"/>
              <a:t>Architecture is a set of Views</a:t>
            </a:r>
            <a:endParaRPr lang="en-US" sz="1800" dirty="0"/>
          </a:p>
          <a:p>
            <a:pPr lvl="1"/>
            <a:r>
              <a:rPr lang="en-US" sz="1600" dirty="0"/>
              <a:t>Each view </a:t>
            </a:r>
            <a:r>
              <a:rPr lang="en-US" sz="1600" dirty="0" smtClean="0"/>
              <a:t>represents certain </a:t>
            </a:r>
            <a:r>
              <a:rPr lang="en-US" sz="1600" dirty="0"/>
              <a:t>architectural aspects of the </a:t>
            </a:r>
            <a:r>
              <a:rPr lang="en-US" sz="1600" dirty="0" smtClean="0"/>
              <a:t>system, created for a stakeholder</a:t>
            </a:r>
            <a:endParaRPr lang="en-US" sz="1600" dirty="0"/>
          </a:p>
          <a:p>
            <a:pPr lvl="1"/>
            <a:r>
              <a:rPr lang="en-US" sz="1600" dirty="0"/>
              <a:t>All the views combined together form the consistent </a:t>
            </a:r>
            <a:r>
              <a:rPr lang="en-US" sz="1600" dirty="0" smtClean="0"/>
              <a:t>whole</a:t>
            </a:r>
          </a:p>
          <a:p>
            <a:r>
              <a:rPr lang="en-US" sz="1800" dirty="0" smtClean="0"/>
              <a:t>A Structure is the underlying part of a view- essentially the set of elements, and their properties</a:t>
            </a:r>
          </a:p>
          <a:p>
            <a:pPr lvl="1"/>
            <a:r>
              <a:rPr lang="en-US" sz="1600" dirty="0" smtClean="0"/>
              <a:t>A view corresponding to a structure is created by using these elements and their inter-relationship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56A3B5A-9440-444B-8E3A-FB0A678F19C7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36729" y="4273965"/>
            <a:ext cx="8079199" cy="17235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Many </a:t>
            </a:r>
            <a:r>
              <a:rPr lang="en-US" dirty="0" smtClean="0"/>
              <a:t>Views exist</a:t>
            </a:r>
          </a:p>
          <a:p>
            <a:pPr algn="ctr"/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Rational Unified Process/</a:t>
            </a:r>
            <a:r>
              <a:rPr lang="en-US" sz="1400" dirty="0" err="1"/>
              <a:t>Kruchten</a:t>
            </a:r>
            <a:r>
              <a:rPr lang="en-US" sz="1400" dirty="0"/>
              <a:t> 4+1 view (uses UML notations to describe these view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Siemens architecture framework- Conceptual, Module, Code, Execution view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C4ISR framework – Operational, system and technica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Classical approach – Data flow and control flow view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RM-ODP (suitable for distributed system development) – 5 </a:t>
            </a:r>
            <a:r>
              <a:rPr lang="en-US" sz="1400" dirty="0" smtClean="0"/>
              <a:t>viewpoints</a:t>
            </a:r>
            <a:endParaRPr lang="en-US" sz="1400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5469968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ree Structures will be cover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4953000"/>
          </a:xfrm>
        </p:spPr>
        <p:txBody>
          <a:bodyPr/>
          <a:lstStyle/>
          <a:p>
            <a:pPr defTabSz="912813" eaLnBrk="1" hangingPunct="1"/>
            <a:r>
              <a:rPr lang="en-US" altLang="en-US" sz="2400" dirty="0"/>
              <a:t>Module Structure</a:t>
            </a:r>
          </a:p>
          <a:p>
            <a:pPr lvl="1" defTabSz="912813" eaLnBrk="1" hangingPunct="1"/>
            <a:r>
              <a:rPr lang="en-US" altLang="en-US" sz="2000" dirty="0" smtClean="0"/>
              <a:t>How is the system to be structured as a set of functional units (modules)?</a:t>
            </a:r>
          </a:p>
          <a:p>
            <a:pPr defTabSz="912813" eaLnBrk="1" hangingPunct="1"/>
            <a:endParaRPr lang="en-US" altLang="en-US" sz="2400" dirty="0" smtClean="0"/>
          </a:p>
          <a:p>
            <a:pPr defTabSz="912813" eaLnBrk="1" hangingPunct="1"/>
            <a:r>
              <a:rPr lang="en-US" altLang="en-US" sz="2400" dirty="0" smtClean="0"/>
              <a:t>Component-and-connector structures</a:t>
            </a:r>
          </a:p>
          <a:p>
            <a:pPr lvl="1" defTabSz="912813" eaLnBrk="1" hangingPunct="1"/>
            <a:r>
              <a:rPr lang="en-US" altLang="en-US" sz="2000" dirty="0" smtClean="0"/>
              <a:t>Here component means a computation unit at runtime</a:t>
            </a:r>
          </a:p>
          <a:p>
            <a:pPr lvl="1" defTabSz="912813" eaLnBrk="1" hangingPunct="1"/>
            <a:r>
              <a:rPr lang="en-US" altLang="en-US" sz="2000" dirty="0" smtClean="0"/>
              <a:t>Connector is the communication channel between the components</a:t>
            </a:r>
          </a:p>
          <a:p>
            <a:pPr lvl="1" defTabSz="912813" eaLnBrk="1" hangingPunct="1"/>
            <a:r>
              <a:rPr lang="en-US" altLang="en-US" sz="2000" dirty="0" smtClean="0"/>
              <a:t>Models parallel execution</a:t>
            </a:r>
          </a:p>
          <a:p>
            <a:pPr defTabSz="912813" eaLnBrk="1" hangingPunct="1"/>
            <a:endParaRPr lang="en-US" altLang="en-US" sz="2400" dirty="0" smtClean="0"/>
          </a:p>
          <a:p>
            <a:pPr defTabSz="912813" eaLnBrk="1" hangingPunct="1"/>
            <a:r>
              <a:rPr lang="en-US" altLang="en-US" sz="2400" dirty="0" smtClean="0"/>
              <a:t>Allocation structures</a:t>
            </a:r>
          </a:p>
          <a:p>
            <a:pPr lvl="1" defTabSz="912813" eaLnBrk="1" hangingPunct="1"/>
            <a:r>
              <a:rPr lang="en-US" altLang="en-US" sz="2000" dirty="0" smtClean="0"/>
              <a:t>How is the system to relate to non-software structures in it’s environment (CPU or cluster of CPUs, File Systems, Networks, Development Teams …)</a:t>
            </a:r>
            <a:endParaRPr lang="en-IN" altLang="en-US" sz="2000" dirty="0" smtClean="0"/>
          </a:p>
          <a:p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602DEDC-9069-4455-AD4B-91A56108C3BD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985466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smtClean="0"/>
              <a:t>Software Structures</a:t>
            </a:r>
            <a:endParaRPr lang="en-IN" altLang="en-US" smtClean="0"/>
          </a:p>
        </p:txBody>
      </p:sp>
      <p:sp>
        <p:nvSpPr>
          <p:cNvPr id="33795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5562600" cy="5029200"/>
          </a:xfrm>
        </p:spPr>
        <p:txBody>
          <a:bodyPr/>
          <a:lstStyle/>
          <a:p>
            <a:pPr defTabSz="912813" eaLnBrk="1" hangingPunct="1"/>
            <a:r>
              <a:rPr lang="en-US" altLang="en-US" sz="2400" dirty="0" smtClean="0"/>
              <a:t>Module Structure includes</a:t>
            </a:r>
          </a:p>
          <a:p>
            <a:pPr lvl="1" defTabSz="912813" eaLnBrk="1" hangingPunct="1"/>
            <a:r>
              <a:rPr lang="en-US" altLang="en-US" sz="2000" dirty="0" smtClean="0"/>
              <a:t>Decomposition</a:t>
            </a:r>
          </a:p>
          <a:p>
            <a:pPr lvl="2" defTabSz="912813" eaLnBrk="1" hangingPunct="1"/>
            <a:r>
              <a:rPr lang="en-US" altLang="en-US" sz="1800" dirty="0"/>
              <a:t>Sub-modules</a:t>
            </a:r>
          </a:p>
          <a:p>
            <a:pPr lvl="2" defTabSz="912813" eaLnBrk="1" hangingPunct="1"/>
            <a:r>
              <a:rPr lang="en-US" altLang="en-US" sz="1800" dirty="0"/>
              <a:t>All sub-mobiles combined together is the module</a:t>
            </a:r>
          </a:p>
          <a:p>
            <a:pPr lvl="1" defTabSz="912813" eaLnBrk="1" hangingPunct="1"/>
            <a:r>
              <a:rPr lang="en-US" altLang="en-US" sz="2000" dirty="0" smtClean="0"/>
              <a:t>Uses</a:t>
            </a:r>
          </a:p>
          <a:p>
            <a:pPr lvl="2" defTabSz="912813" eaLnBrk="1" hangingPunct="1"/>
            <a:r>
              <a:rPr lang="en-US" altLang="en-US" sz="1800" dirty="0" smtClean="0"/>
              <a:t>A modules uses the functionality of another module for its behavior</a:t>
            </a:r>
          </a:p>
          <a:p>
            <a:pPr lvl="1" defTabSz="912813" eaLnBrk="1" hangingPunct="1"/>
            <a:r>
              <a:rPr lang="en-US" altLang="en-US" sz="2000" dirty="0" smtClean="0"/>
              <a:t>Layered</a:t>
            </a:r>
          </a:p>
          <a:p>
            <a:pPr lvl="2" defTabSz="912813" eaLnBrk="1" hangingPunct="1"/>
            <a:r>
              <a:rPr lang="en-US" altLang="en-US" sz="1800" dirty="0" smtClean="0"/>
              <a:t>Hierarchical organization with restrictions that layer n uses the service of layer n-1</a:t>
            </a:r>
          </a:p>
          <a:p>
            <a:pPr lvl="1" defTabSz="912813" eaLnBrk="1" hangingPunct="1"/>
            <a:r>
              <a:rPr lang="en-US" altLang="en-US" sz="2000" dirty="0" smtClean="0"/>
              <a:t>Class or generalization</a:t>
            </a:r>
          </a:p>
          <a:p>
            <a:pPr lvl="2" defTabSz="912813" eaLnBrk="1" hangingPunct="1"/>
            <a:r>
              <a:rPr lang="en-US" altLang="en-US" sz="1800" dirty="0"/>
              <a:t>Similar to OO concept</a:t>
            </a:r>
            <a:endParaRPr lang="en-IN" altLang="en-US" sz="1800" dirty="0"/>
          </a:p>
        </p:txBody>
      </p:sp>
      <p:sp>
        <p:nvSpPr>
          <p:cNvPr id="33796" name="TextBox 3"/>
          <p:cNvSpPr txBox="1">
            <a:spLocks noChangeArrowheads="1"/>
          </p:cNvSpPr>
          <p:nvPr/>
        </p:nvSpPr>
        <p:spPr bwMode="auto">
          <a:xfrm>
            <a:off x="6705600" y="1847850"/>
            <a:ext cx="1081088" cy="400050"/>
          </a:xfrm>
          <a:prstGeom prst="rect">
            <a:avLst/>
          </a:prstGeom>
          <a:ln/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2000" b="1" dirty="0"/>
              <a:t>Module</a:t>
            </a:r>
            <a:endParaRPr lang="en-IN" altLang="en-US" sz="2000" b="1" dirty="0"/>
          </a:p>
        </p:txBody>
      </p:sp>
      <p:sp>
        <p:nvSpPr>
          <p:cNvPr id="33797" name="TextBox 4"/>
          <p:cNvSpPr txBox="1">
            <a:spLocks noChangeArrowheads="1"/>
          </p:cNvSpPr>
          <p:nvPr/>
        </p:nvSpPr>
        <p:spPr bwMode="auto">
          <a:xfrm>
            <a:off x="4873625" y="2919412"/>
            <a:ext cx="2038350" cy="400050"/>
          </a:xfrm>
          <a:prstGeom prst="rect">
            <a:avLst/>
          </a:prstGeom>
          <a:ln/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2000" b="1" dirty="0"/>
              <a:t>Decomposition</a:t>
            </a:r>
            <a:endParaRPr lang="en-IN" altLang="en-US" sz="2000" b="1" dirty="0"/>
          </a:p>
        </p:txBody>
      </p:sp>
      <p:sp>
        <p:nvSpPr>
          <p:cNvPr id="33798" name="TextBox 5"/>
          <p:cNvSpPr txBox="1">
            <a:spLocks noChangeArrowheads="1"/>
          </p:cNvSpPr>
          <p:nvPr/>
        </p:nvSpPr>
        <p:spPr bwMode="auto">
          <a:xfrm>
            <a:off x="6873875" y="3805237"/>
            <a:ext cx="798513" cy="400050"/>
          </a:xfrm>
          <a:prstGeom prst="rect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2000" b="1" dirty="0"/>
              <a:t>Uses</a:t>
            </a:r>
            <a:endParaRPr lang="en-IN" altLang="en-US" sz="2000" b="1" dirty="0"/>
          </a:p>
        </p:txBody>
      </p:sp>
      <p:sp>
        <p:nvSpPr>
          <p:cNvPr id="33799" name="TextBox 6"/>
          <p:cNvSpPr txBox="1">
            <a:spLocks noChangeArrowheads="1"/>
          </p:cNvSpPr>
          <p:nvPr/>
        </p:nvSpPr>
        <p:spPr bwMode="auto">
          <a:xfrm>
            <a:off x="6762750" y="4705350"/>
            <a:ext cx="1168400" cy="400050"/>
          </a:xfrm>
          <a:prstGeom prst="rect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2000" b="1" dirty="0"/>
              <a:t>Layered</a:t>
            </a:r>
            <a:endParaRPr lang="en-IN" altLang="en-US" sz="2000" b="1" dirty="0"/>
          </a:p>
        </p:txBody>
      </p:sp>
      <p:sp>
        <p:nvSpPr>
          <p:cNvPr id="33800" name="TextBox 7"/>
          <p:cNvSpPr txBox="1">
            <a:spLocks noChangeArrowheads="1"/>
          </p:cNvSpPr>
          <p:nvPr/>
        </p:nvSpPr>
        <p:spPr bwMode="auto">
          <a:xfrm>
            <a:off x="8047038" y="3348037"/>
            <a:ext cx="868362" cy="400050"/>
          </a:xfrm>
          <a:prstGeom prst="rect">
            <a:avLst/>
          </a:prstGeom>
          <a:ln/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2000" b="1" dirty="0"/>
              <a:t>Class</a:t>
            </a:r>
            <a:endParaRPr lang="en-IN" altLang="en-US" sz="2000" b="1" dirty="0"/>
          </a:p>
        </p:txBody>
      </p:sp>
      <p:cxnSp>
        <p:nvCxnSpPr>
          <p:cNvPr id="10" name="Straight Arrow Connector 9"/>
          <p:cNvCxnSpPr>
            <a:stCxn id="33796" idx="2"/>
            <a:endCxn id="33797" idx="0"/>
          </p:cNvCxnSpPr>
          <p:nvPr/>
        </p:nvCxnSpPr>
        <p:spPr>
          <a:xfrm rot="5400000">
            <a:off x="6233319" y="1907381"/>
            <a:ext cx="671512" cy="1352550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33796" idx="2"/>
            <a:endCxn id="33798" idx="0"/>
          </p:cNvCxnSpPr>
          <p:nvPr/>
        </p:nvCxnSpPr>
        <p:spPr>
          <a:xfrm rot="16200000" flipH="1">
            <a:off x="6480969" y="3012281"/>
            <a:ext cx="1557337" cy="28575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endCxn id="33799" idx="0"/>
          </p:cNvCxnSpPr>
          <p:nvPr/>
        </p:nvCxnSpPr>
        <p:spPr>
          <a:xfrm rot="16200000" flipH="1">
            <a:off x="7074693" y="4433094"/>
            <a:ext cx="500063" cy="44450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33796" idx="2"/>
            <a:endCxn id="33800" idx="0"/>
          </p:cNvCxnSpPr>
          <p:nvPr/>
        </p:nvCxnSpPr>
        <p:spPr>
          <a:xfrm rot="16200000" flipH="1">
            <a:off x="7313613" y="2179637"/>
            <a:ext cx="1100137" cy="1236663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A51DC32-A96D-4224-8459-D7B9E2B82337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138267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37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379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379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3379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3379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379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3379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3379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3379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3379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795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smtClean="0"/>
              <a:t>Component and Connectors</a:t>
            </a:r>
            <a:endParaRPr lang="en-IN" altLang="en-US" smtClean="0"/>
          </a:p>
        </p:txBody>
      </p:sp>
      <p:sp>
        <p:nvSpPr>
          <p:cNvPr id="34819" name="Content Placeholder 2"/>
          <p:cNvSpPr>
            <a:spLocks noGrp="1"/>
          </p:cNvSpPr>
          <p:nvPr>
            <p:ph idx="1"/>
          </p:nvPr>
        </p:nvSpPr>
        <p:spPr>
          <a:xfrm>
            <a:off x="304800" y="2971800"/>
            <a:ext cx="8305800" cy="3429000"/>
          </a:xfrm>
        </p:spPr>
        <p:txBody>
          <a:bodyPr/>
          <a:lstStyle/>
          <a:p>
            <a:pPr defTabSz="912813" eaLnBrk="1" hangingPunct="1"/>
            <a:r>
              <a:rPr lang="en-US" altLang="en-US" sz="2000" dirty="0"/>
              <a:t>Client-Server</a:t>
            </a:r>
          </a:p>
          <a:p>
            <a:pPr lvl="1" defTabSz="912813" eaLnBrk="1" hangingPunct="1"/>
            <a:r>
              <a:rPr lang="en-US" altLang="en-US" sz="1800" dirty="0"/>
              <a:t>Components are clients and servers and connectors are how they interact</a:t>
            </a:r>
            <a:endParaRPr lang="en-IN" altLang="en-US" sz="1800" dirty="0"/>
          </a:p>
          <a:p>
            <a:pPr defTabSz="912813" eaLnBrk="1" hangingPunct="1"/>
            <a:r>
              <a:rPr lang="en-US" altLang="en-US" sz="2000" dirty="0"/>
              <a:t>Concurrency</a:t>
            </a:r>
          </a:p>
          <a:p>
            <a:pPr lvl="1" defTabSz="912813" eaLnBrk="1" hangingPunct="1"/>
            <a:r>
              <a:rPr lang="en-US" altLang="en-US" sz="1800" dirty="0"/>
              <a:t>Opportunities of parallelism, where connectors are logical thread of execution dependency</a:t>
            </a:r>
          </a:p>
          <a:p>
            <a:pPr defTabSz="912813" eaLnBrk="1" hangingPunct="1"/>
            <a:r>
              <a:rPr lang="en-US" altLang="en-US" sz="2000" dirty="0" smtClean="0"/>
              <a:t>Process, or communicating processes</a:t>
            </a:r>
          </a:p>
          <a:p>
            <a:pPr lvl="1" defTabSz="912813" eaLnBrk="1" hangingPunct="1"/>
            <a:r>
              <a:rPr lang="en-US" altLang="en-US" sz="1800" dirty="0" smtClean="0"/>
              <a:t>Components that are processes and connectors are how they communicate</a:t>
            </a:r>
          </a:p>
          <a:p>
            <a:pPr defTabSz="912813" eaLnBrk="1" hangingPunct="1"/>
            <a:r>
              <a:rPr lang="en-US" altLang="en-US" sz="2000" dirty="0" smtClean="0"/>
              <a:t>Shared data, or repository</a:t>
            </a:r>
          </a:p>
          <a:p>
            <a:pPr lvl="1" defTabSz="912813" eaLnBrk="1" hangingPunct="1"/>
            <a:r>
              <a:rPr lang="en-US" altLang="en-US" sz="1800" dirty="0" smtClean="0"/>
              <a:t>Components have data store, and connectors describe how data is created, stored, retrieved</a:t>
            </a:r>
          </a:p>
        </p:txBody>
      </p:sp>
      <p:grpSp>
        <p:nvGrpSpPr>
          <p:cNvPr id="34827" name="Group 34826"/>
          <p:cNvGrpSpPr/>
          <p:nvPr/>
        </p:nvGrpSpPr>
        <p:grpSpPr>
          <a:xfrm>
            <a:off x="858044" y="1447800"/>
            <a:ext cx="7062788" cy="1398813"/>
            <a:chOff x="1524000" y="3100388"/>
            <a:chExt cx="7062788" cy="1398813"/>
          </a:xfrm>
        </p:grpSpPr>
        <p:sp>
          <p:nvSpPr>
            <p:cNvPr id="34820" name="TextBox 3"/>
            <p:cNvSpPr txBox="1">
              <a:spLocks noChangeArrowheads="1"/>
            </p:cNvSpPr>
            <p:nvPr/>
          </p:nvSpPr>
          <p:spPr bwMode="auto">
            <a:xfrm>
              <a:off x="3733800" y="3100388"/>
              <a:ext cx="3657599" cy="400110"/>
            </a:xfrm>
            <a:prstGeom prst="rect">
              <a:avLst/>
            </a:prstGeom>
            <a:ln/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en-US" sz="2000" b="1" dirty="0" smtClean="0"/>
                <a:t>Components-and-connector</a:t>
              </a:r>
              <a:endParaRPr lang="en-IN" altLang="en-US" sz="2000" b="1" dirty="0"/>
            </a:p>
          </p:txBody>
        </p:sp>
        <p:sp>
          <p:nvSpPr>
            <p:cNvPr id="34821" name="TextBox 4"/>
            <p:cNvSpPr txBox="1">
              <a:spLocks noChangeArrowheads="1"/>
            </p:cNvSpPr>
            <p:nvPr/>
          </p:nvSpPr>
          <p:spPr bwMode="auto">
            <a:xfrm>
              <a:off x="1524000" y="4079111"/>
              <a:ext cx="1779588" cy="400050"/>
            </a:xfrm>
            <a:prstGeom prst="rect">
              <a:avLst/>
            </a:prstGeom>
            <a:ln/>
            <a:ex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en-US" sz="2000" b="1" dirty="0"/>
                <a:t>Client-Server</a:t>
              </a:r>
              <a:endParaRPr lang="en-IN" altLang="en-US" sz="2000" b="1" dirty="0"/>
            </a:p>
          </p:txBody>
        </p:sp>
        <p:sp>
          <p:nvSpPr>
            <p:cNvPr id="34822" name="TextBox 5"/>
            <p:cNvSpPr txBox="1">
              <a:spLocks noChangeArrowheads="1"/>
            </p:cNvSpPr>
            <p:nvPr/>
          </p:nvSpPr>
          <p:spPr bwMode="auto">
            <a:xfrm>
              <a:off x="3505200" y="4069462"/>
              <a:ext cx="1768475" cy="400050"/>
            </a:xfrm>
            <a:prstGeom prst="rect">
              <a:avLst/>
            </a:prstGeom>
            <a:ln/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en-US" sz="2000" b="1" dirty="0"/>
                <a:t>Concurrency</a:t>
              </a:r>
              <a:endParaRPr lang="en-IN" altLang="en-US" sz="2000" b="1" dirty="0"/>
            </a:p>
          </p:txBody>
        </p:sp>
        <p:sp>
          <p:nvSpPr>
            <p:cNvPr id="34823" name="TextBox 6"/>
            <p:cNvSpPr txBox="1">
              <a:spLocks noChangeArrowheads="1"/>
            </p:cNvSpPr>
            <p:nvPr/>
          </p:nvSpPr>
          <p:spPr bwMode="auto">
            <a:xfrm>
              <a:off x="6934200" y="4099151"/>
              <a:ext cx="1652588" cy="400050"/>
            </a:xfrm>
            <a:prstGeom prst="rect">
              <a:avLst/>
            </a:prstGeom>
            <a:ln/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en-US" sz="2000" b="1" dirty="0"/>
                <a:t>Shared data</a:t>
              </a:r>
              <a:endParaRPr lang="en-IN" altLang="en-US" sz="2000" b="1" dirty="0"/>
            </a:p>
          </p:txBody>
        </p:sp>
        <p:sp>
          <p:nvSpPr>
            <p:cNvPr id="34824" name="TextBox 7"/>
            <p:cNvSpPr txBox="1">
              <a:spLocks noChangeArrowheads="1"/>
            </p:cNvSpPr>
            <p:nvPr/>
          </p:nvSpPr>
          <p:spPr bwMode="auto">
            <a:xfrm>
              <a:off x="5478860" y="4079111"/>
              <a:ext cx="1182687" cy="400050"/>
            </a:xfrm>
            <a:prstGeom prst="rect">
              <a:avLst/>
            </a:prstGeom>
            <a:ln/>
            <a:ex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en-US" sz="2000" b="1" dirty="0"/>
                <a:t>Process</a:t>
              </a:r>
              <a:endParaRPr lang="en-IN" altLang="en-US" sz="2000" b="1" dirty="0"/>
            </a:p>
          </p:txBody>
        </p:sp>
        <p:cxnSp>
          <p:nvCxnSpPr>
            <p:cNvPr id="9" name="Straight Arrow Connector 8"/>
            <p:cNvCxnSpPr>
              <a:stCxn id="34820" idx="2"/>
              <a:endCxn id="34821" idx="0"/>
            </p:cNvCxnSpPr>
            <p:nvPr/>
          </p:nvCxnSpPr>
          <p:spPr>
            <a:xfrm flipH="1">
              <a:off x="2413794" y="3500498"/>
              <a:ext cx="3148806" cy="578613"/>
            </a:xfrm>
            <a:prstGeom prst="straightConnector1">
              <a:avLst/>
            </a:prstGeom>
            <a:ln w="15875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>
              <a:stCxn id="34820" idx="2"/>
              <a:endCxn id="34822" idx="0"/>
            </p:cNvCxnSpPr>
            <p:nvPr/>
          </p:nvCxnSpPr>
          <p:spPr>
            <a:xfrm flipH="1">
              <a:off x="4389438" y="3500498"/>
              <a:ext cx="1173162" cy="568964"/>
            </a:xfrm>
            <a:prstGeom prst="straightConnector1">
              <a:avLst/>
            </a:prstGeom>
            <a:ln w="15875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>
              <a:stCxn id="34820" idx="2"/>
              <a:endCxn id="34823" idx="0"/>
            </p:cNvCxnSpPr>
            <p:nvPr/>
          </p:nvCxnSpPr>
          <p:spPr>
            <a:xfrm>
              <a:off x="5562600" y="3500498"/>
              <a:ext cx="2197894" cy="598653"/>
            </a:xfrm>
            <a:prstGeom prst="straightConnector1">
              <a:avLst/>
            </a:prstGeom>
            <a:ln w="15875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Arrow Connector 11"/>
            <p:cNvCxnSpPr>
              <a:stCxn id="34820" idx="2"/>
              <a:endCxn id="34824" idx="0"/>
            </p:cNvCxnSpPr>
            <p:nvPr/>
          </p:nvCxnSpPr>
          <p:spPr>
            <a:xfrm>
              <a:off x="5562600" y="3500498"/>
              <a:ext cx="507604" cy="578613"/>
            </a:xfrm>
            <a:prstGeom prst="straightConnector1">
              <a:avLst/>
            </a:prstGeom>
            <a:ln w="15875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4828" name="Date Placeholder 348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9106F14-979B-445A-A64F-956C0E1374C7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34829" name="Footer Placeholder 3482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34830" name="Slide Number Placeholder 3482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90019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48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48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348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48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348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48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348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348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819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smtClean="0"/>
              <a:t>Allocation</a:t>
            </a:r>
            <a:endParaRPr lang="en-IN" altLang="en-US" smtClean="0"/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>
          <a:xfrm>
            <a:off x="228600" y="2819400"/>
            <a:ext cx="8686800" cy="3352800"/>
          </a:xfrm>
        </p:spPr>
        <p:txBody>
          <a:bodyPr/>
          <a:lstStyle/>
          <a:p>
            <a:pPr algn="just" defTabSz="912813" eaLnBrk="1" hangingPunct="1"/>
            <a:r>
              <a:rPr lang="en-US" altLang="en-US" sz="2400" dirty="0" smtClean="0"/>
              <a:t>Deployment</a:t>
            </a:r>
          </a:p>
          <a:p>
            <a:pPr lvl="1" algn="just" defTabSz="912813" eaLnBrk="1" hangingPunct="1"/>
            <a:r>
              <a:rPr lang="en-US" altLang="en-US" sz="2000" dirty="0" smtClean="0"/>
              <a:t>Units are software (processes from component-connector) and hardware processors</a:t>
            </a:r>
          </a:p>
          <a:p>
            <a:pPr lvl="1" algn="just" defTabSz="912813" eaLnBrk="1" hangingPunct="1"/>
            <a:r>
              <a:rPr lang="en-US" altLang="en-US" sz="2000" dirty="0" smtClean="0"/>
              <a:t>Relation means how a software is allocated or migrated to a hardware</a:t>
            </a:r>
          </a:p>
          <a:p>
            <a:pPr algn="just" defTabSz="912813" eaLnBrk="1" hangingPunct="1"/>
            <a:r>
              <a:rPr lang="en-US" altLang="en-US" sz="2400" dirty="0" smtClean="0"/>
              <a:t>Implementation </a:t>
            </a:r>
          </a:p>
          <a:p>
            <a:pPr lvl="1" algn="just" defTabSz="912813" eaLnBrk="1" hangingPunct="1"/>
            <a:r>
              <a:rPr lang="en-US" altLang="en-US" sz="2000" dirty="0" smtClean="0"/>
              <a:t>Units are modules (from module view) and connectors denote how they are mapped to files, folders</a:t>
            </a:r>
          </a:p>
          <a:p>
            <a:pPr algn="just" defTabSz="912813" eaLnBrk="1" hangingPunct="1"/>
            <a:r>
              <a:rPr lang="en-US" altLang="en-US" sz="2400" dirty="0" smtClean="0"/>
              <a:t>Work assignment </a:t>
            </a:r>
          </a:p>
          <a:p>
            <a:pPr lvl="1" algn="just" defTabSz="912813" eaLnBrk="1" hangingPunct="1"/>
            <a:r>
              <a:rPr lang="en-US" altLang="en-US" sz="2000" dirty="0" smtClean="0"/>
              <a:t>Assigns responsibility for implementing and integrating the modules to people or team</a:t>
            </a:r>
            <a:endParaRPr lang="en-IN" altLang="en-US" sz="2000" dirty="0" smtClean="0"/>
          </a:p>
        </p:txBody>
      </p:sp>
      <p:grpSp>
        <p:nvGrpSpPr>
          <p:cNvPr id="5" name="Group 4"/>
          <p:cNvGrpSpPr/>
          <p:nvPr/>
        </p:nvGrpSpPr>
        <p:grpSpPr>
          <a:xfrm>
            <a:off x="1066800" y="1371600"/>
            <a:ext cx="7085806" cy="1325892"/>
            <a:chOff x="1981200" y="3967163"/>
            <a:chExt cx="7085806" cy="1325892"/>
          </a:xfrm>
        </p:grpSpPr>
        <p:sp>
          <p:nvSpPr>
            <p:cNvPr id="35844" name="TextBox 3"/>
            <p:cNvSpPr txBox="1">
              <a:spLocks noChangeArrowheads="1"/>
            </p:cNvSpPr>
            <p:nvPr/>
          </p:nvSpPr>
          <p:spPr bwMode="auto">
            <a:xfrm>
              <a:off x="4899025" y="3967163"/>
              <a:ext cx="1493838" cy="400050"/>
            </a:xfrm>
            <a:prstGeom prst="rect">
              <a:avLst/>
            </a:prstGeom>
            <a:ln/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en-US" sz="2000" b="1" dirty="0"/>
                <a:t>Allocation </a:t>
              </a:r>
              <a:endParaRPr lang="en-IN" altLang="en-US" sz="2000" b="1" dirty="0"/>
            </a:p>
          </p:txBody>
        </p:sp>
        <p:sp>
          <p:nvSpPr>
            <p:cNvPr id="35845" name="TextBox 4"/>
            <p:cNvSpPr txBox="1">
              <a:spLocks noChangeArrowheads="1"/>
            </p:cNvSpPr>
            <p:nvPr/>
          </p:nvSpPr>
          <p:spPr bwMode="auto">
            <a:xfrm>
              <a:off x="1981200" y="4862327"/>
              <a:ext cx="1652588" cy="400050"/>
            </a:xfrm>
            <a:prstGeom prst="rect">
              <a:avLst/>
            </a:prstGeom>
            <a:ln/>
            <a:ex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en-US" sz="2000" b="1" dirty="0"/>
                <a:t>Deployment</a:t>
              </a:r>
              <a:endParaRPr lang="en-IN" altLang="en-US" sz="2000" b="1" dirty="0"/>
            </a:p>
          </p:txBody>
        </p:sp>
        <p:sp>
          <p:nvSpPr>
            <p:cNvPr id="35846" name="TextBox 5"/>
            <p:cNvSpPr txBox="1">
              <a:spLocks noChangeArrowheads="1"/>
            </p:cNvSpPr>
            <p:nvPr/>
          </p:nvSpPr>
          <p:spPr bwMode="auto">
            <a:xfrm>
              <a:off x="4038600" y="4893005"/>
              <a:ext cx="2078038" cy="400050"/>
            </a:xfrm>
            <a:prstGeom prst="rect">
              <a:avLst/>
            </a:prstGeom>
            <a:ln/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en-US" sz="2000" b="1" dirty="0"/>
                <a:t>Implementation</a:t>
              </a:r>
              <a:endParaRPr lang="en-IN" altLang="en-US" sz="2000" b="1" dirty="0"/>
            </a:p>
          </p:txBody>
        </p:sp>
        <p:sp>
          <p:nvSpPr>
            <p:cNvPr id="35847" name="TextBox 7"/>
            <p:cNvSpPr txBox="1">
              <a:spLocks noChangeArrowheads="1"/>
            </p:cNvSpPr>
            <p:nvPr/>
          </p:nvSpPr>
          <p:spPr bwMode="auto">
            <a:xfrm>
              <a:off x="6750844" y="4893005"/>
              <a:ext cx="2316162" cy="400050"/>
            </a:xfrm>
            <a:prstGeom prst="rect">
              <a:avLst/>
            </a:prstGeom>
            <a:ln/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en-US" sz="2000" b="1" dirty="0"/>
                <a:t>Work assignment</a:t>
              </a:r>
              <a:endParaRPr lang="en-IN" altLang="en-US" sz="2000" b="1" dirty="0"/>
            </a:p>
          </p:txBody>
        </p:sp>
        <p:cxnSp>
          <p:nvCxnSpPr>
            <p:cNvPr id="9" name="Straight Arrow Connector 8"/>
            <p:cNvCxnSpPr>
              <a:stCxn id="35844" idx="2"/>
              <a:endCxn id="35845" idx="0"/>
            </p:cNvCxnSpPr>
            <p:nvPr/>
          </p:nvCxnSpPr>
          <p:spPr>
            <a:xfrm flipH="1">
              <a:off x="2807494" y="4367213"/>
              <a:ext cx="2838450" cy="495114"/>
            </a:xfrm>
            <a:prstGeom prst="straightConnector1">
              <a:avLst/>
            </a:prstGeom>
            <a:ln w="15875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>
              <a:stCxn id="35844" idx="2"/>
              <a:endCxn id="35846" idx="0"/>
            </p:cNvCxnSpPr>
            <p:nvPr/>
          </p:nvCxnSpPr>
          <p:spPr>
            <a:xfrm flipH="1">
              <a:off x="5077619" y="4367213"/>
              <a:ext cx="568325" cy="525792"/>
            </a:xfrm>
            <a:prstGeom prst="straightConnector1">
              <a:avLst/>
            </a:prstGeom>
            <a:ln w="15875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Arrow Connector 11"/>
            <p:cNvCxnSpPr>
              <a:stCxn id="35844" idx="2"/>
              <a:endCxn id="35847" idx="0"/>
            </p:cNvCxnSpPr>
            <p:nvPr/>
          </p:nvCxnSpPr>
          <p:spPr>
            <a:xfrm>
              <a:off x="5645944" y="4367213"/>
              <a:ext cx="2262981" cy="525792"/>
            </a:xfrm>
            <a:prstGeom prst="straightConnector1">
              <a:avLst/>
            </a:prstGeom>
            <a:ln w="15875"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F49FC07-124C-4B27-B5CF-2BCDA1750BC0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 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629294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58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58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58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58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58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584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3584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84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smtClean="0"/>
              <a:t>Architectural Structures</a:t>
            </a:r>
            <a:endParaRPr lang="en-IN" altLang="en-US" smtClean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mc="http://schemas.openxmlformats.org/markup-compatibility/2006" xmlns:mv="urn:schemas-microsoft-com:mac:vml" xmlns:p14="http://schemas.microsoft.com/office/powerpoint/2010/main" xmlns="" val="968033952"/>
              </p:ext>
            </p:extLst>
          </p:nvPr>
        </p:nvGraphicFramePr>
        <p:xfrm>
          <a:off x="304800" y="1371600"/>
          <a:ext cx="8382000" cy="51260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4000"/>
                <a:gridCol w="2794000"/>
                <a:gridCol w="2794000"/>
              </a:tblGrid>
              <a:tr h="370863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oftware Structure</a:t>
                      </a:r>
                      <a:endParaRPr lang="en-IN" sz="1800" dirty="0"/>
                    </a:p>
                  </a:txBody>
                  <a:tcPr marL="93133" marR="93133" marT="45723" marB="45723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Relations</a:t>
                      </a:r>
                      <a:endParaRPr lang="en-IN" sz="1800" dirty="0"/>
                    </a:p>
                  </a:txBody>
                  <a:tcPr marL="93133" marR="93133" marT="45723" marB="45723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Useful For</a:t>
                      </a:r>
                      <a:endParaRPr lang="en-IN" sz="1800" dirty="0"/>
                    </a:p>
                  </a:txBody>
                  <a:tcPr marL="93133" marR="93133" marT="45723" marB="45723"/>
                </a:tc>
              </a:tr>
              <a:tr h="146313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Decomposition</a:t>
                      </a:r>
                      <a:endParaRPr lang="en-IN" sz="1800" dirty="0"/>
                    </a:p>
                  </a:txBody>
                  <a:tcPr marL="93133" marR="93133" marT="45723" marB="45723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s a sub-module of</a:t>
                      </a:r>
                      <a:endParaRPr lang="en-IN" sz="1800" dirty="0"/>
                    </a:p>
                  </a:txBody>
                  <a:tcPr marL="93133" marR="93133" marT="45723" marB="45723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Resource allocation and project</a:t>
                      </a:r>
                      <a:r>
                        <a:rPr lang="en-US" sz="1800" baseline="0" dirty="0" smtClean="0"/>
                        <a:t> structuring; information hiding, encapsulation; configuration control</a:t>
                      </a:r>
                      <a:endParaRPr lang="en-IN" sz="1800" dirty="0"/>
                    </a:p>
                  </a:txBody>
                  <a:tcPr marL="93133" marR="93133" marT="45723" marB="45723"/>
                </a:tc>
              </a:tr>
              <a:tr h="64012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Uses</a:t>
                      </a:r>
                      <a:endParaRPr lang="en-IN" sz="1800" dirty="0"/>
                    </a:p>
                  </a:txBody>
                  <a:tcPr marL="93133" marR="93133" marT="45723" marB="45723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Requires the correct</a:t>
                      </a:r>
                      <a:r>
                        <a:rPr lang="en-US" sz="1800" baseline="0" dirty="0" smtClean="0"/>
                        <a:t> presence of</a:t>
                      </a:r>
                      <a:endParaRPr lang="en-IN" sz="1800" dirty="0"/>
                    </a:p>
                  </a:txBody>
                  <a:tcPr marL="93133" marR="93133" marT="45723" marB="45723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Engineering subsets; engineering extensions</a:t>
                      </a:r>
                      <a:endParaRPr lang="en-IN" sz="1800" dirty="0"/>
                    </a:p>
                  </a:txBody>
                  <a:tcPr marL="93133" marR="93133" marT="45723" marB="45723"/>
                </a:tc>
              </a:tr>
              <a:tr h="1188794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Layered</a:t>
                      </a:r>
                      <a:endParaRPr lang="en-IN" sz="1800" dirty="0"/>
                    </a:p>
                  </a:txBody>
                  <a:tcPr marL="93133" marR="93133" marT="45723" marB="45723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Requires the correct presence of; uses the services</a:t>
                      </a:r>
                      <a:r>
                        <a:rPr lang="en-US" sz="1800" baseline="0" dirty="0" smtClean="0"/>
                        <a:t> of; provides abstraction to </a:t>
                      </a:r>
                      <a:endParaRPr lang="en-IN" sz="1800" dirty="0"/>
                    </a:p>
                  </a:txBody>
                  <a:tcPr marL="93133" marR="93133" marT="45723" marB="45723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ncremental</a:t>
                      </a:r>
                      <a:r>
                        <a:rPr lang="en-US" sz="1800" baseline="0" dirty="0" smtClean="0"/>
                        <a:t> development; implementing systems  on top of “virtual machines” portability</a:t>
                      </a:r>
                    </a:p>
                  </a:txBody>
                  <a:tcPr marL="93133" marR="93133" marT="45723" marB="45723"/>
                </a:tc>
              </a:tr>
              <a:tr h="146313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Class</a:t>
                      </a:r>
                      <a:endParaRPr lang="en-IN" sz="1800" dirty="0"/>
                    </a:p>
                  </a:txBody>
                  <a:tcPr marL="93133" marR="93133" marT="45723" marB="45723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s an</a:t>
                      </a:r>
                      <a:r>
                        <a:rPr lang="en-US" sz="1800" baseline="0" dirty="0" smtClean="0"/>
                        <a:t> instance of; shares access methods of</a:t>
                      </a:r>
                      <a:endParaRPr lang="en-IN" sz="1800" dirty="0"/>
                    </a:p>
                  </a:txBody>
                  <a:tcPr marL="93133" marR="93133" marT="45723" marB="45723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n object-oriented</a:t>
                      </a:r>
                      <a:r>
                        <a:rPr lang="en-US" sz="1800" baseline="0" dirty="0" smtClean="0"/>
                        <a:t> design systems, producing rapid most-alike implementations from a common template</a:t>
                      </a:r>
                      <a:endParaRPr lang="en-IN" sz="1800" dirty="0"/>
                    </a:p>
                  </a:txBody>
                  <a:tcPr marL="93133" marR="93133" marT="45723" marB="45723"/>
                </a:tc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2E4617-C0D1-4D8B-ADC2-ABF254206274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96718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smtClean="0"/>
              <a:t>Architectural Structures</a:t>
            </a:r>
            <a:endParaRPr lang="en-IN" altLang="en-US" smtClean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304800" y="1371600"/>
          <a:ext cx="8382000" cy="43024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4000"/>
                <a:gridCol w="2794000"/>
                <a:gridCol w="2794000"/>
              </a:tblGrid>
              <a:tr h="370703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oftware Structure</a:t>
                      </a:r>
                      <a:endParaRPr lang="en-IN" sz="1800" dirty="0"/>
                    </a:p>
                  </a:txBody>
                  <a:tcPr marL="93133" marR="93133" marT="45702" marB="45702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Relations</a:t>
                      </a:r>
                      <a:endParaRPr lang="en-IN" sz="1800" dirty="0"/>
                    </a:p>
                  </a:txBody>
                  <a:tcPr marL="93133" marR="93133" marT="45702" marB="45702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Useful For</a:t>
                      </a:r>
                      <a:endParaRPr lang="en-IN" sz="1800" dirty="0"/>
                    </a:p>
                  </a:txBody>
                  <a:tcPr marL="93133" marR="93133" marT="45702" marB="45702"/>
                </a:tc>
              </a:tr>
              <a:tr h="1188575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Client-Server</a:t>
                      </a:r>
                      <a:endParaRPr lang="en-IN" sz="1800" dirty="0"/>
                    </a:p>
                  </a:txBody>
                  <a:tcPr marL="93133" marR="93133" marT="45702" marB="45702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Communicates with; depends on</a:t>
                      </a:r>
                      <a:endParaRPr lang="en-IN" sz="1800" dirty="0"/>
                    </a:p>
                  </a:txBody>
                  <a:tcPr marL="93133" marR="93133" marT="45702" marB="45702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Distributed operation; separation of concerns; performance analysis; load</a:t>
                      </a:r>
                      <a:r>
                        <a:rPr lang="en-US" sz="1800" baseline="0" dirty="0" smtClean="0"/>
                        <a:t> balancing</a:t>
                      </a:r>
                      <a:endParaRPr lang="en-IN" sz="1800" dirty="0"/>
                    </a:p>
                  </a:txBody>
                  <a:tcPr marL="93133" marR="93133" marT="45702" marB="45702"/>
                </a:tc>
              </a:tr>
              <a:tr h="914282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Process</a:t>
                      </a:r>
                      <a:endParaRPr lang="en-IN" sz="1800" dirty="0"/>
                    </a:p>
                  </a:txBody>
                  <a:tcPr marL="93133" marR="93133" marT="45702" marB="45702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Runs concurrently with; may run concurrently with;</a:t>
                      </a:r>
                      <a:r>
                        <a:rPr lang="en-US" sz="1800" baseline="0" dirty="0" smtClean="0"/>
                        <a:t> excludes; precedes; etc.</a:t>
                      </a:r>
                      <a:endParaRPr lang="en-IN" sz="1800" dirty="0"/>
                    </a:p>
                  </a:txBody>
                  <a:tcPr marL="93133" marR="93133" marT="45702" marB="45702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cheduling analysis; performance analysis</a:t>
                      </a:r>
                      <a:endParaRPr lang="en-IN" sz="1800" dirty="0"/>
                    </a:p>
                  </a:txBody>
                  <a:tcPr marL="93133" marR="93133" marT="45702" marB="45702"/>
                </a:tc>
              </a:tr>
              <a:tr h="1188575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Concurrency</a:t>
                      </a:r>
                      <a:endParaRPr lang="en-IN" sz="1800" dirty="0"/>
                    </a:p>
                  </a:txBody>
                  <a:tcPr marL="93133" marR="93133" marT="45702" marB="45702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Runs on the same logical thread</a:t>
                      </a:r>
                      <a:endParaRPr lang="en-IN" sz="1800" dirty="0"/>
                    </a:p>
                  </a:txBody>
                  <a:tcPr marL="93133" marR="93133" marT="45702" marB="45702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dentifying locations where resource</a:t>
                      </a:r>
                      <a:r>
                        <a:rPr lang="en-US" sz="1800" baseline="0" dirty="0" smtClean="0"/>
                        <a:t> contention exists, where threads may fork, join, be created or be killed</a:t>
                      </a:r>
                    </a:p>
                  </a:txBody>
                  <a:tcPr marL="93133" marR="93133" marT="45702" marB="45702"/>
                </a:tc>
              </a:tr>
              <a:tr h="63999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hared Data</a:t>
                      </a:r>
                      <a:endParaRPr lang="en-IN" sz="1800" dirty="0"/>
                    </a:p>
                  </a:txBody>
                  <a:tcPr marL="93133" marR="93133" marT="45702" marB="45702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Produces</a:t>
                      </a:r>
                      <a:r>
                        <a:rPr lang="en-US" sz="1800" baseline="0" dirty="0" smtClean="0"/>
                        <a:t> data; consumes data</a:t>
                      </a:r>
                      <a:endParaRPr lang="en-IN" sz="1800" dirty="0"/>
                    </a:p>
                  </a:txBody>
                  <a:tcPr marL="93133" marR="93133" marT="45702" marB="45702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Performance;</a:t>
                      </a:r>
                      <a:r>
                        <a:rPr lang="en-US" sz="1800" baseline="0" dirty="0" smtClean="0"/>
                        <a:t> data integrity; modifiability</a:t>
                      </a:r>
                      <a:endParaRPr lang="en-IN" sz="1800" dirty="0"/>
                    </a:p>
                  </a:txBody>
                  <a:tcPr marL="93133" marR="93133" marT="45702" marB="45702"/>
                </a:tc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77ED814-F961-46C6-AE47-84B62046C1BB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892706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smtClean="0"/>
              <a:t>Architectural Structures</a:t>
            </a:r>
            <a:endParaRPr lang="en-IN" altLang="en-US" smtClean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304800" y="1371600"/>
          <a:ext cx="8382000" cy="28400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4000"/>
                <a:gridCol w="2794000"/>
                <a:gridCol w="2794000"/>
              </a:tblGrid>
              <a:tr h="370881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oftware Structure</a:t>
                      </a:r>
                      <a:endParaRPr lang="en-IN" sz="1800" dirty="0"/>
                    </a:p>
                  </a:txBody>
                  <a:tcPr marL="93133" marR="93133" marT="45725" marB="45725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Relations</a:t>
                      </a:r>
                      <a:endParaRPr lang="en-IN" sz="1800" dirty="0"/>
                    </a:p>
                  </a:txBody>
                  <a:tcPr marL="93133" marR="93133" marT="45725" marB="45725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Useful For</a:t>
                      </a:r>
                      <a:endParaRPr lang="en-IN" sz="1800" dirty="0"/>
                    </a:p>
                  </a:txBody>
                  <a:tcPr marL="93133" marR="93133" marT="45725" marB="45725"/>
                </a:tc>
              </a:tr>
              <a:tr h="640151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Deployment</a:t>
                      </a:r>
                      <a:endParaRPr lang="en-IN" sz="1800" dirty="0"/>
                    </a:p>
                  </a:txBody>
                  <a:tcPr marL="93133" marR="93133" marT="45725" marB="45725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Allocated to; migrates to</a:t>
                      </a:r>
                      <a:endParaRPr lang="en-IN" sz="1800" dirty="0"/>
                    </a:p>
                  </a:txBody>
                  <a:tcPr marL="93133" marR="93133" marT="45725" marB="45725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Performance,</a:t>
                      </a:r>
                      <a:r>
                        <a:rPr lang="en-US" sz="1800" baseline="0" dirty="0" smtClean="0"/>
                        <a:t> availability, security analysis</a:t>
                      </a:r>
                      <a:endParaRPr lang="en-IN" sz="1800" dirty="0"/>
                    </a:p>
                  </a:txBody>
                  <a:tcPr marL="93133" marR="93133" marT="45725" marB="45725"/>
                </a:tc>
              </a:tr>
              <a:tr h="640151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mplementation</a:t>
                      </a:r>
                      <a:endParaRPr lang="en-IN" sz="1800" dirty="0"/>
                    </a:p>
                  </a:txBody>
                  <a:tcPr marL="93133" marR="93133" marT="45725" marB="45725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tored in</a:t>
                      </a:r>
                      <a:endParaRPr lang="en-IN" sz="1800" dirty="0"/>
                    </a:p>
                  </a:txBody>
                  <a:tcPr marL="93133" marR="93133" marT="45725" marB="45725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Configuration control, integration,</a:t>
                      </a:r>
                      <a:r>
                        <a:rPr lang="en-US" sz="1800" baseline="0" dirty="0" smtClean="0"/>
                        <a:t> test activities</a:t>
                      </a:r>
                      <a:endParaRPr lang="en-IN" sz="1800" dirty="0"/>
                    </a:p>
                  </a:txBody>
                  <a:tcPr marL="93133" marR="93133" marT="45725" marB="45725"/>
                </a:tc>
              </a:tr>
              <a:tr h="1188853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Work assignment</a:t>
                      </a:r>
                      <a:endParaRPr lang="en-IN" sz="1800" dirty="0"/>
                    </a:p>
                  </a:txBody>
                  <a:tcPr marL="93133" marR="93133" marT="45725" marB="45725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Assigned to</a:t>
                      </a:r>
                      <a:endParaRPr lang="en-IN" sz="1800" dirty="0"/>
                    </a:p>
                  </a:txBody>
                  <a:tcPr marL="93133" marR="93133" marT="45725" marB="45725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Project management, best use of expertise, management of</a:t>
                      </a:r>
                      <a:r>
                        <a:rPr lang="en-US" sz="1800" baseline="0" dirty="0" smtClean="0"/>
                        <a:t> commonality</a:t>
                      </a:r>
                    </a:p>
                  </a:txBody>
                  <a:tcPr marL="93133" marR="93133" marT="45725" marB="45725"/>
                </a:tc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BB8F8CE-318B-413A-B917-C74F4347841B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488602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007</TotalTime>
  <Words>759</Words>
  <Application>Microsoft Macintosh PowerPoint</Application>
  <PresentationFormat>On-screen Show (4:3)</PresentationFormat>
  <Paragraphs>163</Paragraphs>
  <Slides>10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think-cell Slide</vt:lpstr>
      <vt:lpstr>SS ZG653 (RL 2.1): Software Architecture Software Structure and Views</vt:lpstr>
      <vt:lpstr>Views and Architectural Structure- Recap..</vt:lpstr>
      <vt:lpstr>Three Structures will be covered</vt:lpstr>
      <vt:lpstr>Software Structures</vt:lpstr>
      <vt:lpstr>Component and Connectors</vt:lpstr>
      <vt:lpstr>Allocation</vt:lpstr>
      <vt:lpstr>Architectural Structures</vt:lpstr>
      <vt:lpstr>Architectural Structures</vt:lpstr>
      <vt:lpstr>Architectural Structures</vt:lpstr>
      <vt:lpstr>Which Structure to Choose?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tudio</cp:lastModifiedBy>
  <cp:revision>590</cp:revision>
  <dcterms:created xsi:type="dcterms:W3CDTF">2015-05-24T10:21:30Z</dcterms:created>
  <dcterms:modified xsi:type="dcterms:W3CDTF">2015-05-25T05:20:29Z</dcterms:modified>
</cp:coreProperties>
</file>